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3" r:id="rId4"/>
  </p:sldMasterIdLst>
  <p:notesMasterIdLst>
    <p:notesMasterId r:id="rId8"/>
  </p:notesMasterIdLst>
  <p:handoutMasterIdLst>
    <p:handoutMasterId r:id="rId9"/>
  </p:handoutMasterIdLst>
  <p:sldIdLst>
    <p:sldId id="3844" r:id="rId5"/>
    <p:sldId id="3848" r:id="rId6"/>
    <p:sldId id="3849" r:id="rId7"/>
  </p:sldIdLst>
  <p:sldSz cx="9906000" cy="6858000" type="A4"/>
  <p:notesSz cx="6858000" cy="91440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40">
          <p15:clr>
            <a:srgbClr val="A4A3A4"/>
          </p15:clr>
        </p15:guide>
        <p15:guide id="2" orient="horz" pos="981" userDrawn="1">
          <p15:clr>
            <a:srgbClr val="A4A3A4"/>
          </p15:clr>
        </p15:guide>
        <p15:guide id="3" orient="horz" pos="1298" userDrawn="1">
          <p15:clr>
            <a:srgbClr val="A4A3A4"/>
          </p15:clr>
        </p15:guide>
        <p15:guide id="4" pos="243">
          <p15:clr>
            <a:srgbClr val="A4A3A4"/>
          </p15:clr>
        </p15:guide>
        <p15:guide id="5" pos="6006">
          <p15:clr>
            <a:srgbClr val="A4A3A4"/>
          </p15:clr>
        </p15:guide>
        <p15:guide id="6" pos="3120">
          <p15:clr>
            <a:srgbClr val="A4A3A4"/>
          </p15:clr>
        </p15:guide>
        <p15:guide id="7" pos="171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3273"/>
    <a:srgbClr val="F96F07"/>
    <a:srgbClr val="67BB6E"/>
    <a:srgbClr val="FFE281"/>
    <a:srgbClr val="BFBFBF"/>
    <a:srgbClr val="404040"/>
    <a:srgbClr val="E5E5E5"/>
    <a:srgbClr val="CD0032"/>
    <a:srgbClr val="B3B3B3"/>
    <a:srgbClr val="384B6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36A3B69-9C37-DA0B-857A-AE5064B29989}" v="9" dt="2026-04-09T00:47:02.61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605"/>
    <p:restoredTop sz="94722"/>
  </p:normalViewPr>
  <p:slideViewPr>
    <p:cSldViewPr snapToGrid="0">
      <p:cViewPr varScale="1">
        <p:scale>
          <a:sx n="150" d="100"/>
          <a:sy n="150" d="100"/>
        </p:scale>
        <p:origin x="1890" y="138"/>
      </p:cViewPr>
      <p:guideLst>
        <p:guide orient="horz" pos="3940"/>
        <p:guide orient="horz" pos="981"/>
        <p:guide orient="horz" pos="1298"/>
        <p:guide pos="243"/>
        <p:guide pos="6006"/>
        <p:guide pos="3120"/>
        <p:guide pos="171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6/11/relationships/changesInfo" Target="changesInfos/changesInfo1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ubota Nichika" userId="S::kubota.n@lefixea.com::8fb0ef68-18aa-4d1b-b018-3b48622e93e2" providerId="AD" clId="Web-{B36A3B69-9C37-DA0B-857A-AE5064B29989}"/>
    <pc:docChg chg="modSld">
      <pc:chgData name="Kubota Nichika" userId="S::kubota.n@lefixea.com::8fb0ef68-18aa-4d1b-b018-3b48622e93e2" providerId="AD" clId="Web-{B36A3B69-9C37-DA0B-857A-AE5064B29989}" dt="2026-04-09T00:47:02.613" v="6" actId="1076"/>
      <pc:docMkLst>
        <pc:docMk/>
      </pc:docMkLst>
      <pc:sldChg chg="addSp modSp">
        <pc:chgData name="Kubota Nichika" userId="S::kubota.n@lefixea.com::8fb0ef68-18aa-4d1b-b018-3b48622e93e2" providerId="AD" clId="Web-{B36A3B69-9C37-DA0B-857A-AE5064B29989}" dt="2026-04-09T00:47:02.613" v="6" actId="1076"/>
        <pc:sldMkLst>
          <pc:docMk/>
          <pc:sldMk cId="2819633542" sldId="3844"/>
        </pc:sldMkLst>
        <pc:spChg chg="add mod">
          <ac:chgData name="Kubota Nichika" userId="S::kubota.n@lefixea.com::8fb0ef68-18aa-4d1b-b018-3b48622e93e2" providerId="AD" clId="Web-{B36A3B69-9C37-DA0B-857A-AE5064B29989}" dt="2026-04-09T00:47:02.613" v="6" actId="1076"/>
          <ac:spMkLst>
            <pc:docMk/>
            <pc:sldMk cId="2819633542" sldId="3844"/>
            <ac:spMk id="6" creationId="{13D757CF-D9CC-2FED-41CD-6280A18E9D91}"/>
          </ac:spMkLst>
        </pc:spChg>
        <pc:picChg chg="add">
          <ac:chgData name="Kubota Nichika" userId="S::kubota.n@lefixea.com::8fb0ef68-18aa-4d1b-b018-3b48622e93e2" providerId="AD" clId="Web-{B36A3B69-9C37-DA0B-857A-AE5064B29989}" dt="2026-04-09T00:46:54.410" v="0"/>
          <ac:picMkLst>
            <pc:docMk/>
            <pc:sldMk cId="2819633542" sldId="3844"/>
            <ac:picMk id="5" creationId="{96F57ED9-318E-B001-D5CA-908C41CE347A}"/>
          </ac:picMkLst>
        </pc:picChg>
      </pc:sldChg>
    </pc:docChg>
  </pc:docChgLst>
  <pc:docChgLst>
    <pc:chgData name="Seino Rika" userId="214ff8f3-4710-4ba6-ae71-753dbde41a58" providerId="ADAL" clId="{B114934D-98FC-4D0C-9F72-03F62DBF9E99}"/>
    <pc:docChg chg="custSel modSld">
      <pc:chgData name="Seino Rika" userId="214ff8f3-4710-4ba6-ae71-753dbde41a58" providerId="ADAL" clId="{B114934D-98FC-4D0C-9F72-03F62DBF9E99}" dt="2026-04-08T09:12:54.566" v="79" actId="478"/>
      <pc:docMkLst>
        <pc:docMk/>
      </pc:docMkLst>
      <pc:sldChg chg="addSp delSp modSp mod">
        <pc:chgData name="Seino Rika" userId="214ff8f3-4710-4ba6-ae71-753dbde41a58" providerId="ADAL" clId="{B114934D-98FC-4D0C-9F72-03F62DBF9E99}" dt="2026-04-08T05:14:59.577" v="36" actId="478"/>
        <pc:sldMkLst>
          <pc:docMk/>
          <pc:sldMk cId="4037685213" sldId="3848"/>
        </pc:sldMkLst>
        <pc:spChg chg="mod ord">
          <ac:chgData name="Seino Rika" userId="214ff8f3-4710-4ba6-ae71-753dbde41a58" providerId="ADAL" clId="{B114934D-98FC-4D0C-9F72-03F62DBF9E99}" dt="2026-04-08T05:14:52.522" v="33" actId="14100"/>
          <ac:spMkLst>
            <pc:docMk/>
            <pc:sldMk cId="4037685213" sldId="3848"/>
            <ac:spMk id="8" creationId="{F159E2BE-5592-1806-A9C1-0FEF8A5910EE}"/>
          </ac:spMkLst>
        </pc:spChg>
        <pc:spChg chg="del mod ord">
          <ac:chgData name="Seino Rika" userId="214ff8f3-4710-4ba6-ae71-753dbde41a58" providerId="ADAL" clId="{B114934D-98FC-4D0C-9F72-03F62DBF9E99}" dt="2026-04-08T05:14:56.959" v="35" actId="478"/>
          <ac:spMkLst>
            <pc:docMk/>
            <pc:sldMk cId="4037685213" sldId="3848"/>
            <ac:spMk id="22" creationId="{AD9CE5E5-D8D5-C962-B77F-37F9FB3CE068}"/>
          </ac:spMkLst>
        </pc:spChg>
        <pc:spChg chg="mod ord">
          <ac:chgData name="Seino Rika" userId="214ff8f3-4710-4ba6-ae71-753dbde41a58" providerId="ADAL" clId="{B114934D-98FC-4D0C-9F72-03F62DBF9E99}" dt="2026-04-08T05:13:05.148" v="30" actId="1076"/>
          <ac:spMkLst>
            <pc:docMk/>
            <pc:sldMk cId="4037685213" sldId="3848"/>
            <ac:spMk id="24" creationId="{6BF70517-1418-2A9F-52D0-496296356F8C}"/>
          </ac:spMkLst>
        </pc:spChg>
        <pc:picChg chg="add mod">
          <ac:chgData name="Seino Rika" userId="214ff8f3-4710-4ba6-ae71-753dbde41a58" providerId="ADAL" clId="{B114934D-98FC-4D0C-9F72-03F62DBF9E99}" dt="2026-04-08T05:12:26.357" v="25" actId="1076"/>
          <ac:picMkLst>
            <pc:docMk/>
            <pc:sldMk cId="4037685213" sldId="3848"/>
            <ac:picMk id="4" creationId="{4E463F4F-64A3-2B83-57B4-032D04123134}"/>
          </ac:picMkLst>
        </pc:picChg>
        <pc:picChg chg="del mod">
          <ac:chgData name="Seino Rika" userId="214ff8f3-4710-4ba6-ae71-753dbde41a58" providerId="ADAL" clId="{B114934D-98FC-4D0C-9F72-03F62DBF9E99}" dt="2026-04-08T05:14:59.577" v="36" actId="478"/>
          <ac:picMkLst>
            <pc:docMk/>
            <pc:sldMk cId="4037685213" sldId="3848"/>
            <ac:picMk id="6" creationId="{505D4C30-5EEC-EB92-CBD1-36A5E1414094}"/>
          </ac:picMkLst>
        </pc:picChg>
      </pc:sldChg>
      <pc:sldChg chg="addSp delSp modSp mod">
        <pc:chgData name="Seino Rika" userId="214ff8f3-4710-4ba6-ae71-753dbde41a58" providerId="ADAL" clId="{B114934D-98FC-4D0C-9F72-03F62DBF9E99}" dt="2026-04-08T09:12:54.566" v="79" actId="478"/>
        <pc:sldMkLst>
          <pc:docMk/>
          <pc:sldMk cId="2233272991" sldId="3849"/>
        </pc:sldMkLst>
        <pc:spChg chg="add del mod">
          <ac:chgData name="Seino Rika" userId="214ff8f3-4710-4ba6-ae71-753dbde41a58" providerId="ADAL" clId="{B114934D-98FC-4D0C-9F72-03F62DBF9E99}" dt="2026-04-08T09:12:52.388" v="77" actId="478"/>
          <ac:spMkLst>
            <pc:docMk/>
            <pc:sldMk cId="2233272991" sldId="3849"/>
            <ac:spMk id="2" creationId="{8628A436-C319-74A8-95D2-CEEEDC8FE7D7}"/>
          </ac:spMkLst>
        </pc:spChg>
        <pc:spChg chg="mod">
          <ac:chgData name="Seino Rika" userId="214ff8f3-4710-4ba6-ae71-753dbde41a58" providerId="ADAL" clId="{B114934D-98FC-4D0C-9F72-03F62DBF9E99}" dt="2026-04-08T05:16:54.343" v="44" actId="20577"/>
          <ac:spMkLst>
            <pc:docMk/>
            <pc:sldMk cId="2233272991" sldId="3849"/>
            <ac:spMk id="46" creationId="{792838EF-1EB0-D260-3D85-F5386E056964}"/>
          </ac:spMkLst>
        </pc:spChg>
        <pc:picChg chg="add del mod">
          <ac:chgData name="Seino Rika" userId="214ff8f3-4710-4ba6-ae71-753dbde41a58" providerId="ADAL" clId="{B114934D-98FC-4D0C-9F72-03F62DBF9E99}" dt="2026-04-08T09:12:54.566" v="79" actId="478"/>
          <ac:picMkLst>
            <pc:docMk/>
            <pc:sldMk cId="2233272991" sldId="3849"/>
            <ac:picMk id="7" creationId="{5B90EF95-61A4-C75F-5A0B-E6F3C5E32B16}"/>
          </ac:picMkLst>
        </pc:picChg>
        <pc:picChg chg="add del mod">
          <ac:chgData name="Seino Rika" userId="214ff8f3-4710-4ba6-ae71-753dbde41a58" providerId="ADAL" clId="{B114934D-98FC-4D0C-9F72-03F62DBF9E99}" dt="2026-04-08T09:12:53.586" v="78" actId="478"/>
          <ac:picMkLst>
            <pc:docMk/>
            <pc:sldMk cId="2233272991" sldId="3849"/>
            <ac:picMk id="9" creationId="{A2519B0F-8F8C-9DCC-32CA-DA7D0F734F06}"/>
          </ac:picMkLst>
        </pc:picChg>
        <pc:picChg chg="add del mod modCrop">
          <ac:chgData name="Seino Rika" userId="214ff8f3-4710-4ba6-ae71-753dbde41a58" providerId="ADAL" clId="{B114934D-98FC-4D0C-9F72-03F62DBF9E99}" dt="2026-04-08T09:12:48.306" v="76" actId="478"/>
          <ac:picMkLst>
            <pc:docMk/>
            <pc:sldMk cId="2233272991" sldId="3849"/>
            <ac:picMk id="11" creationId="{5C1FE9DD-1867-A434-1A6A-9C223C83B203}"/>
          </ac:picMkLst>
        </pc:picChg>
      </pc:sldChg>
    </pc:docChg>
  </pc:docChgLst>
  <pc:docChgLst>
    <pc:chgData name="Matsubara Tomoaki" userId="ef143bb3-7e06-476c-90cc-89a444f71210" providerId="ADAL" clId="{A544731A-1D18-58F3-B398-43D663FCF7AC}"/>
    <pc:docChg chg="undo custSel delSld modSld">
      <pc:chgData name="Matsubara Tomoaki" userId="ef143bb3-7e06-476c-90cc-89a444f71210" providerId="ADAL" clId="{A544731A-1D18-58F3-B398-43D663FCF7AC}" dt="2026-04-03T11:06:56.168" v="130" actId="2696"/>
      <pc:docMkLst>
        <pc:docMk/>
      </pc:docMkLst>
      <pc:sldChg chg="modSp mod">
        <pc:chgData name="Matsubara Tomoaki" userId="ef143bb3-7e06-476c-90cc-89a444f71210" providerId="ADAL" clId="{A544731A-1D18-58F3-B398-43D663FCF7AC}" dt="2026-04-03T11:06:34.667" v="121" actId="404"/>
        <pc:sldMkLst>
          <pc:docMk/>
          <pc:sldMk cId="4037685213" sldId="3848"/>
        </pc:sldMkLst>
        <pc:spChg chg="mod">
          <ac:chgData name="Matsubara Tomoaki" userId="ef143bb3-7e06-476c-90cc-89a444f71210" providerId="ADAL" clId="{A544731A-1D18-58F3-B398-43D663FCF7AC}" dt="2026-04-03T11:06:34.667" v="121" actId="404"/>
          <ac:spMkLst>
            <pc:docMk/>
            <pc:sldMk cId="4037685213" sldId="3848"/>
            <ac:spMk id="46" creationId="{4468475E-7A65-95D0-CE32-9C2F5BED2831}"/>
          </ac:spMkLst>
        </pc:spChg>
      </pc:sldChg>
      <pc:sldChg chg="modSp mod">
        <pc:chgData name="Matsubara Tomoaki" userId="ef143bb3-7e06-476c-90cc-89a444f71210" providerId="ADAL" clId="{A544731A-1D18-58F3-B398-43D663FCF7AC}" dt="2026-04-03T07:23:24.340" v="100" actId="20577"/>
        <pc:sldMkLst>
          <pc:docMk/>
          <pc:sldMk cId="2233272991" sldId="3849"/>
        </pc:sldMkLst>
        <pc:spChg chg="mod">
          <ac:chgData name="Matsubara Tomoaki" userId="ef143bb3-7e06-476c-90cc-89a444f71210" providerId="ADAL" clId="{A544731A-1D18-58F3-B398-43D663FCF7AC}" dt="2026-04-03T07:23:24.340" v="100" actId="20577"/>
          <ac:spMkLst>
            <pc:docMk/>
            <pc:sldMk cId="2233272991" sldId="3849"/>
            <ac:spMk id="5" creationId="{39BDFDBB-21B0-BDE8-1D64-7F739EAF7B26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>
            <a:extLst>
              <a:ext uri="{FF2B5EF4-FFF2-40B4-BE49-F238E27FC236}">
                <a16:creationId xmlns:a16="http://schemas.microsoft.com/office/drawing/2014/main" id="{4C80DEDF-D1F8-3044-A2EA-37054BB3A39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F969C2DA-CA2D-2B4A-B2C3-0AA1418E310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74BB5DB-5A56-CF43-B5BB-571F07623099}" type="datetimeFigureOut">
              <a:rPr kumimoji="1" lang="ja-JP" altLang="en-US" smtClean="0"/>
              <a:t>2026/4/8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0FEC747E-38EF-3041-9BC5-9265BB39595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58672EDE-2C0B-ED4C-A761-030583F354D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75533C-D1F7-564E-9E19-9D5E53E146D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457906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0C60E9-5877-444C-84B7-37D16D2A8C27}" type="datetimeFigureOut">
              <a:rPr lang="en-GB" smtClean="0"/>
              <a:t>08/04/202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2CEC724-DA86-49C3-9B67-CFEF5279C4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343781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C18096-0738-3CAB-675A-CADFFEA077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E47D5E8-372A-6F30-977D-D0CFC77F0BD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D72BF89-27C2-58A8-AD26-73AB26376D7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0D3F3D-31C6-F301-7AEA-340D443F5A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CEC724-DA86-49C3-9B67-CFEF5279C41D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36529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016AFD-1505-61D9-EF05-686A02BD76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4779647-5660-B180-1ABB-10EC8AB0ED4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5AF3233-B21F-17BE-F6C7-D1196001605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732CD3-C566-3B5E-1476-1408BF32C1F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CEC724-DA86-49C3-9B67-CFEF5279C41D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854929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1600" y="1416424"/>
            <a:ext cx="9144000" cy="492443"/>
          </a:xfrm>
        </p:spPr>
        <p:txBody>
          <a:bodyPr lIns="0" tIns="0" rIns="0" bIns="0" anchor="t">
            <a:spAutoFit/>
          </a:bodyPr>
          <a:lstStyle>
            <a:lvl1pPr algn="l">
              <a:defRPr sz="32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Title inserted her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1600" y="1927865"/>
            <a:ext cx="9144000" cy="276999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ubtitle and date inserted her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82588" y="5446800"/>
            <a:ext cx="1789200" cy="504000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1100" b="1"/>
            </a:lvl1pPr>
            <a:lvl2pPr>
              <a:defRPr sz="1100" b="1"/>
            </a:lvl2pPr>
            <a:lvl3pPr>
              <a:defRPr sz="1100" b="1"/>
            </a:lvl3pPr>
            <a:lvl4pPr>
              <a:defRPr sz="1100" b="1"/>
            </a:lvl4pPr>
            <a:lvl5pPr>
              <a:defRPr sz="1100" b="1"/>
            </a:lvl5pPr>
          </a:lstStyle>
          <a:p>
            <a:pPr lvl="0"/>
            <a:r>
              <a:rPr lang="en-US"/>
              <a:t>Presentation/Report to Client Name</a:t>
            </a:r>
          </a:p>
        </p:txBody>
      </p:sp>
      <p:pic>
        <p:nvPicPr>
          <p:cNvPr id="6" name="図 5">
            <a:extLst>
              <a:ext uri="{FF2B5EF4-FFF2-40B4-BE49-F238E27FC236}">
                <a16:creationId xmlns:a16="http://schemas.microsoft.com/office/drawing/2014/main" id="{6CFC04F5-9567-7444-870C-EF9F73B1C2F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05127" y="4725144"/>
            <a:ext cx="1617408" cy="432000"/>
          </a:xfrm>
          <a:prstGeom prst="rect">
            <a:avLst/>
          </a:prstGeom>
        </p:spPr>
      </p:pic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90BEA0FF-0E51-1B44-8C45-8FB387FB4228}"/>
              </a:ext>
            </a:extLst>
          </p:cNvPr>
          <p:cNvSpPr txBox="1"/>
          <p:nvPr userDrawn="1"/>
        </p:nvSpPr>
        <p:spPr>
          <a:xfrm>
            <a:off x="6609185" y="5301208"/>
            <a:ext cx="1822935" cy="738664"/>
          </a:xfrm>
          <a:prstGeom prst="rect">
            <a:avLst/>
          </a:prstGeom>
          <a:ln w="12700">
            <a:noFill/>
          </a:ln>
        </p:spPr>
        <p:txBody>
          <a:bodyPr wrap="square" rtlCol="0">
            <a:spAutoFit/>
          </a:bodyPr>
          <a:lstStyle/>
          <a:p>
            <a:r>
              <a:rPr kumimoji="1" lang="ja-JP" altLang="en-US" sz="105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六本木オフィス：</a:t>
            </a:r>
            <a:endParaRPr kumimoji="1" lang="en-US" altLang="ja-JP" sz="105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r>
              <a:rPr kumimoji="1" lang="ja-JP" altLang="en-US" sz="105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〒</a:t>
            </a:r>
            <a:r>
              <a:rPr kumimoji="1" lang="en-US" altLang="ja-JP" sz="105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06-0032</a:t>
            </a:r>
          </a:p>
          <a:p>
            <a:r>
              <a:rPr kumimoji="1" lang="ja-JP" altLang="en-US" sz="105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東京都 港区 六本木</a:t>
            </a:r>
            <a:br>
              <a:rPr kumimoji="1" lang="en-US" altLang="ja-JP" sz="105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kumimoji="1" lang="en-US" altLang="ja-JP" sz="105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5-17-6-403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8D8FDAE0-9F11-6448-94F8-356A77C16AE9}"/>
              </a:ext>
            </a:extLst>
          </p:cNvPr>
          <p:cNvSpPr txBox="1"/>
          <p:nvPr userDrawn="1"/>
        </p:nvSpPr>
        <p:spPr>
          <a:xfrm>
            <a:off x="6609184" y="6116798"/>
            <a:ext cx="1822935" cy="415498"/>
          </a:xfrm>
          <a:prstGeom prst="rect">
            <a:avLst/>
          </a:prstGeom>
          <a:ln w="12700">
            <a:noFill/>
          </a:ln>
        </p:spPr>
        <p:txBody>
          <a:bodyPr wrap="square" rtlCol="0">
            <a:spAutoFit/>
          </a:bodyPr>
          <a:lstStyle/>
          <a:p>
            <a:r>
              <a:rPr kumimoji="1" lang="ja-JP" altLang="en-US" sz="105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電話：</a:t>
            </a:r>
            <a:r>
              <a:rPr kumimoji="1" lang="en-US" altLang="ja-JP" sz="105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03-6456-4323</a:t>
            </a:r>
          </a:p>
          <a:p>
            <a:r>
              <a:rPr kumimoji="1" lang="en-US" altLang="ja-JP" sz="105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URL</a:t>
            </a:r>
            <a:r>
              <a:rPr kumimoji="1" lang="ja-JP" altLang="en-US" sz="105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：</a:t>
            </a:r>
            <a:r>
              <a:rPr kumimoji="1" lang="en-US" altLang="ja-JP" sz="105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https://</a:t>
            </a:r>
            <a:r>
              <a:rPr kumimoji="1" lang="en-US" altLang="ja-JP" sz="105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efixea.com</a:t>
            </a:r>
            <a:endParaRPr kumimoji="1" lang="ja-JP" altLang="en-US" sz="105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56397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ternativ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1111250"/>
            <a:ext cx="9906000" cy="46609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endParaRPr lang="en-US">
              <a:solidFill>
                <a:schemeClr val="bg1"/>
              </a:solidFill>
              <a:cs typeface="Arial" charset="0"/>
            </a:endParaRPr>
          </a:p>
        </p:txBody>
      </p:sp>
      <p:cxnSp>
        <p:nvCxnSpPr>
          <p:cNvPr id="4" name="Straight Connector 3"/>
          <p:cNvCxnSpPr>
            <a:stCxn id="3" idx="0"/>
            <a:endCxn id="3" idx="2"/>
          </p:cNvCxnSpPr>
          <p:nvPr userDrawn="1"/>
        </p:nvCxnSpPr>
        <p:spPr>
          <a:xfrm>
            <a:off x="4953000" y="1111250"/>
            <a:ext cx="0" cy="466090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81600" y="2239200"/>
            <a:ext cx="4572000" cy="492443"/>
          </a:xfrm>
        </p:spPr>
        <p:txBody>
          <a:bodyPr lIns="0" tIns="0" rIns="0" bIns="0" anchor="t">
            <a:spAutoFit/>
          </a:bodyPr>
          <a:lstStyle>
            <a:lvl1pPr algn="l">
              <a:defRPr sz="32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Title inserted here</a:t>
            </a:r>
            <a:endParaRPr lang="en-GB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1600" y="2746801"/>
            <a:ext cx="4572000" cy="276999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ubtitle and date inserted here</a:t>
            </a:r>
            <a:endParaRPr lang="en-GB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82588" y="4798800"/>
            <a:ext cx="1789200" cy="504000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1100" b="1">
                <a:solidFill>
                  <a:schemeClr val="bg1"/>
                </a:solidFill>
              </a:defRPr>
            </a:lvl1pPr>
            <a:lvl2pPr>
              <a:defRPr sz="1100" b="1"/>
            </a:lvl2pPr>
            <a:lvl3pPr>
              <a:defRPr sz="1100" b="1"/>
            </a:lvl3pPr>
            <a:lvl4pPr>
              <a:defRPr sz="1100" b="1"/>
            </a:lvl4pPr>
            <a:lvl5pPr>
              <a:defRPr sz="1100" b="1"/>
            </a:lvl5pPr>
          </a:lstStyle>
          <a:p>
            <a:pPr lvl="0"/>
            <a:r>
              <a:rPr lang="en-US"/>
              <a:t>Presentation/Report to Client Name</a:t>
            </a:r>
          </a:p>
        </p:txBody>
      </p:sp>
      <p:pic>
        <p:nvPicPr>
          <p:cNvPr id="11" name="Picture 9">
            <a:extLst>
              <a:ext uri="{FF2B5EF4-FFF2-40B4-BE49-F238E27FC236}">
                <a16:creationId xmlns:a16="http://schemas.microsoft.com/office/drawing/2014/main" id="{9746CFC5-530C-3A4D-AB0C-2EF41BA06E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108" y="1480228"/>
            <a:ext cx="1294532" cy="389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8430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205" y="620688"/>
            <a:ext cx="9144000" cy="244800"/>
          </a:xfrm>
        </p:spPr>
        <p:txBody>
          <a:bodyPr/>
          <a:lstStyle/>
          <a:p>
            <a:r>
              <a:rPr lang="ja-JP" altLang="en-US" noProof="0"/>
              <a:t>マスター タイトルの書式設定</a:t>
            </a:r>
            <a:endParaRPr lang="en-US" noProof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0" y="0"/>
            <a:ext cx="9906000" cy="404664"/>
          </a:xfrm>
        </p:spPr>
        <p:txBody>
          <a:bodyPr lIns="54000" tIns="0" rIns="0" bIns="0" anchor="ctr" anchorCtr="0">
            <a:noAutofit/>
          </a:bodyPr>
          <a:lstStyle>
            <a:lvl1pPr marL="141288" indent="0">
              <a:tabLst>
                <a:tab pos="327025" algn="l"/>
              </a:tabLst>
              <a:defRPr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4" name="Textplatzhalter 6">
            <a:extLst>
              <a:ext uri="{FF2B5EF4-FFF2-40B4-BE49-F238E27FC236}">
                <a16:creationId xmlns:a16="http://schemas.microsoft.com/office/drawing/2014/main" id="{A600D8BB-ED81-B24C-8C5F-B3EDAF22D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4205" y="6302527"/>
            <a:ext cx="9144000" cy="1548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000" noProof="0" dirty="0" smtClean="0"/>
            </a:lvl1pPr>
          </a:lstStyle>
          <a:p>
            <a:pPr lvl="0">
              <a:spcBef>
                <a:spcPts val="0"/>
              </a:spcBef>
            </a:pPr>
            <a:r>
              <a:rPr lang="en-US" noProof="0"/>
              <a:t>Source: Complete if require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DE8A99F-8BD8-770F-95E2-EBA91DC23408}"/>
              </a:ext>
            </a:extLst>
          </p:cNvPr>
          <p:cNvSpPr txBox="1">
            <a:spLocks/>
          </p:cNvSpPr>
          <p:nvPr userDrawn="1"/>
        </p:nvSpPr>
        <p:spPr>
          <a:xfrm>
            <a:off x="8634336" y="93772"/>
            <a:ext cx="1219400" cy="24622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kumimoji="1" sz="1600" b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altLang="ja-JP"/>
              <a:t>Confidentia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65710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205" y="620688"/>
            <a:ext cx="9144000" cy="492443"/>
          </a:xfrm>
        </p:spPr>
        <p:txBody>
          <a:bodyPr/>
          <a:lstStyle/>
          <a:p>
            <a:r>
              <a:rPr lang="ja-JP" altLang="en-US" noProof="0"/>
              <a:t>マスター タイトルの書式設定</a:t>
            </a:r>
            <a:br>
              <a:rPr lang="en-US" altLang="ja-JP" noProof="0"/>
            </a:br>
            <a:r>
              <a:rPr lang="ja-JP" altLang="en-US" noProof="0"/>
              <a:t>マスター タイトルの書式設定</a:t>
            </a:r>
            <a:endParaRPr lang="en-US" noProof="0"/>
          </a:p>
        </p:txBody>
      </p:sp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390232" y="1196753"/>
            <a:ext cx="4496400" cy="5040560"/>
          </a:xfrm>
          <a:ln w="12700">
            <a:noFill/>
          </a:ln>
        </p:spPr>
        <p:txBody>
          <a:bodyPr>
            <a:noAutofit/>
          </a:bodyPr>
          <a:lstStyle>
            <a:lvl1pPr>
              <a:defRPr sz="1200"/>
            </a:lvl1pPr>
            <a:lvl2pPr marL="182563" indent="-180975">
              <a:defRPr sz="1200"/>
            </a:lvl2pPr>
            <a:lvl3pPr marL="357188" indent="-174625">
              <a:defRPr sz="1200"/>
            </a:lvl3pPr>
            <a:lvl4pPr marL="539750" indent="-182563">
              <a:defRPr sz="1200"/>
            </a:lvl4pPr>
            <a:lvl5pPr marL="541338" indent="0"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  <a:p>
            <a:pPr lvl="4"/>
            <a:r>
              <a:rPr lang="ja-JP" altLang="en-US" noProof="0"/>
              <a:t>第 </a:t>
            </a:r>
            <a:r>
              <a:rPr lang="en-US" altLang="ja-JP" noProof="0"/>
              <a:t>5 </a:t>
            </a:r>
            <a:r>
              <a:rPr lang="ja-JP" altLang="en-US" noProof="0"/>
              <a:t>レベル</a:t>
            </a:r>
            <a:endParaRPr lang="en-US" noProof="0"/>
          </a:p>
        </p:txBody>
      </p:sp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5037832" y="1196753"/>
            <a:ext cx="4496400" cy="5040560"/>
          </a:xfrm>
          <a:ln w="12700">
            <a:noFill/>
          </a:ln>
        </p:spPr>
        <p:txBody>
          <a:bodyPr>
            <a:noAutofit/>
          </a:bodyPr>
          <a:lstStyle>
            <a:lvl1pPr>
              <a:defRPr sz="1200"/>
            </a:lvl1pPr>
            <a:lvl2pPr marL="182563" indent="-180975">
              <a:defRPr sz="1200"/>
            </a:lvl2pPr>
            <a:lvl3pPr marL="357188" indent="-174625">
              <a:defRPr sz="1200"/>
            </a:lvl3pPr>
            <a:lvl4pPr marL="541338" indent="-184150">
              <a:defRPr sz="1200"/>
            </a:lvl4pPr>
            <a:lvl5pPr marL="541338" indent="0"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  <a:p>
            <a:pPr lvl="4"/>
            <a:r>
              <a:rPr lang="ja-JP" altLang="en-US" noProof="0"/>
              <a:t>第 </a:t>
            </a:r>
            <a:r>
              <a:rPr lang="en-US" altLang="ja-JP" noProof="0"/>
              <a:t>5 </a:t>
            </a:r>
            <a:r>
              <a:rPr lang="ja-JP" altLang="en-US" noProof="0"/>
              <a:t>レベル</a:t>
            </a:r>
            <a:endParaRPr lang="en-US" noProof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0" y="0"/>
            <a:ext cx="9906000" cy="404664"/>
          </a:xfrm>
        </p:spPr>
        <p:txBody>
          <a:bodyPr lIns="54000" tIns="0" rIns="0" bIns="0" anchor="ctr" anchorCtr="0">
            <a:noAutofit/>
          </a:bodyPr>
          <a:lstStyle>
            <a:lvl1pPr marL="141288" indent="0">
              <a:tabLst>
                <a:tab pos="327025" algn="l"/>
              </a:tabLst>
              <a:defRPr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64259C74-CFB0-924A-B753-AB705F3393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4205" y="6302527"/>
            <a:ext cx="9144000" cy="1548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000" noProof="0" dirty="0" smtClean="0"/>
            </a:lvl1pPr>
          </a:lstStyle>
          <a:p>
            <a:pPr lvl="0">
              <a:spcBef>
                <a:spcPts val="0"/>
              </a:spcBef>
            </a:pPr>
            <a:r>
              <a:rPr lang="en-US" noProof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1386433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91432" y="620688"/>
            <a:ext cx="9144000" cy="244800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1432" y="1081511"/>
            <a:ext cx="9144000" cy="5155801"/>
          </a:xfrm>
          <a:prstGeom prst="rect">
            <a:avLst/>
          </a:prstGeom>
        </p:spPr>
        <p:txBody>
          <a:bodyPr vert="horz" lIns="91440" tIns="90000" rIns="91440" bIns="90000" rtlCol="0">
            <a:no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21" name="Rectangle 7"/>
          <p:cNvSpPr>
            <a:spLocks noChangeArrowheads="1"/>
          </p:cNvSpPr>
          <p:nvPr/>
        </p:nvSpPr>
        <p:spPr bwMode="auto">
          <a:xfrm>
            <a:off x="9188450" y="6524625"/>
            <a:ext cx="336550" cy="241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algn="r" eaLnBrk="0" hangingPunct="0">
              <a:spcBef>
                <a:spcPct val="0"/>
              </a:spcBef>
            </a:pPr>
            <a:fld id="{CA48D800-1282-4793-80DF-9F8E83675139}" type="slidenum">
              <a:rPr lang="en-US" sz="1100" smtClean="0"/>
              <a:pPr algn="r" eaLnBrk="0" hangingPunct="0">
                <a:spcBef>
                  <a:spcPct val="0"/>
                </a:spcBef>
              </a:pPr>
              <a:t>‹#›</a:t>
            </a:fld>
            <a:endParaRPr lang="en-US" sz="1000"/>
          </a:p>
        </p:txBody>
      </p:sp>
      <p:pic>
        <p:nvPicPr>
          <p:cNvPr id="5" name="図 4">
            <a:extLst>
              <a:ext uri="{FF2B5EF4-FFF2-40B4-BE49-F238E27FC236}">
                <a16:creationId xmlns:a16="http://schemas.microsoft.com/office/drawing/2014/main" id="{BE959702-DB85-5F41-8259-2F63F13BE73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472" y="6528144"/>
            <a:ext cx="881363" cy="236256"/>
          </a:xfrm>
          <a:prstGeom prst="rect">
            <a:avLst/>
          </a:prstGeom>
        </p:spPr>
      </p:pic>
      <p:cxnSp>
        <p:nvCxnSpPr>
          <p:cNvPr id="6" name="直線コネクタ 5">
            <a:extLst>
              <a:ext uri="{FF2B5EF4-FFF2-40B4-BE49-F238E27FC236}">
                <a16:creationId xmlns:a16="http://schemas.microsoft.com/office/drawing/2014/main" id="{C665D069-C650-6B44-B522-89A5F0EAC12D}"/>
              </a:ext>
            </a:extLst>
          </p:cNvPr>
          <p:cNvCxnSpPr>
            <a:cxnSpLocks/>
          </p:cNvCxnSpPr>
          <p:nvPr userDrawn="1"/>
        </p:nvCxnSpPr>
        <p:spPr>
          <a:xfrm>
            <a:off x="0" y="404664"/>
            <a:ext cx="4376936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6967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9" r:id="rId2"/>
    <p:sldLayoutId id="2147483735" r:id="rId3"/>
    <p:sldLayoutId id="2147483736" r:id="rId4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kumimoji="1" sz="16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1500"/>
        </a:spcBef>
        <a:buFontTx/>
        <a:buNone/>
        <a:defRPr kumimoji="1"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270000" indent="-268288" algn="l" defTabSz="914400" rtl="0" eaLnBrk="1" latinLnBrk="0" hangingPunct="1">
        <a:spcBef>
          <a:spcPts val="1000"/>
        </a:spcBef>
        <a:buClr>
          <a:schemeClr val="tx1"/>
        </a:buClr>
        <a:buFont typeface="Wingdings" pitchFamily="2" charset="2"/>
        <a:buChar char="n"/>
        <a:defRPr kumimoji="1"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40000" indent="-268288" algn="l" defTabSz="914400" rtl="0" eaLnBrk="1" latinLnBrk="0" hangingPunct="1">
        <a:spcBef>
          <a:spcPts val="500"/>
        </a:spcBef>
        <a:buClr>
          <a:schemeClr val="tx1"/>
        </a:buClr>
        <a:buFont typeface="Arial" pitchFamily="34" charset="0"/>
        <a:buChar char="–"/>
        <a:defRPr kumimoji="1"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810000" indent="-270000" algn="l" defTabSz="914400" rtl="0" eaLnBrk="1" latinLnBrk="0" hangingPunct="1">
        <a:spcBef>
          <a:spcPts val="500"/>
        </a:spcBef>
        <a:buFont typeface="Arial" pitchFamily="34" charset="0"/>
        <a:buChar char="–"/>
        <a:defRPr kumimoji="1"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810000" indent="0" algn="l" defTabSz="914400" rtl="0" eaLnBrk="1" latinLnBrk="0" hangingPunct="1">
        <a:spcBef>
          <a:spcPts val="500"/>
        </a:spcBef>
        <a:buFontTx/>
        <a:buNone/>
        <a:defRPr kumimoji="1"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efixea.com/" TargetMode="Externa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6" Type="http://schemas.openxmlformats.org/officeDocument/2006/relationships/hyperlink" Target="https://youtu.be/jVRN-KMgeNE" TargetMode="Externa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68BB6C06-41F5-7E51-0BBE-25B47B2E13B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ja-JP" altLang="en-US"/>
              <a:t>Heat map and as-built management</a:t>
            </a:r>
            <a:endParaRPr kumimoji="1" lang="ja-JP" altLang="en-US"/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15BA9F90-086B-9D4C-E44A-4AF75A2DA12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ja-JP" altLang="en-US"/>
              <a:t>Quick Reference Manual</a:t>
            </a: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1CE996E2-EBE1-C2EA-A0F9-36A658D3702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6F57ED9-318E-B001-D5CA-908C41CE34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39924" y="4635335"/>
            <a:ext cx="2514451" cy="1897122"/>
          </a:xfrm>
          <a:prstGeom prst="rect">
            <a:avLst/>
          </a:prstGeom>
          <a:ln>
            <a:noFill/>
          </a:ln>
        </p:spPr>
      </p:pic>
      <p:sp>
        <p:nvSpPr>
          <p:cNvPr id="6" name="TextBox 13">
            <a:extLst>
              <a:ext uri="{FF2B5EF4-FFF2-40B4-BE49-F238E27FC236}">
                <a16:creationId xmlns:a16="http://schemas.microsoft.com/office/drawing/2014/main" id="{13D757CF-D9CC-2FED-41CD-6280A18E9D91}"/>
              </a:ext>
            </a:extLst>
          </p:cNvPr>
          <p:cNvSpPr txBox="1"/>
          <p:nvPr/>
        </p:nvSpPr>
        <p:spPr>
          <a:xfrm>
            <a:off x="6387853" y="6200831"/>
            <a:ext cx="2743200" cy="276999"/>
          </a:xfrm>
          <a:prstGeom prst="rect">
            <a:avLst/>
          </a:prstGeom>
          <a:noFill/>
          <a:ln w="12700">
            <a:noFill/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b="1" dirty="0">
                <a:latin typeface="MS PGothic"/>
                <a:ea typeface="MS PGothic"/>
                <a:cs typeface="+mn-lt"/>
                <a:hlinkClick r:id="rId3"/>
              </a:rPr>
              <a:t>https://www.lefixea.com/</a:t>
            </a:r>
            <a:endParaRPr lang="en-US" sz="1200" b="1">
              <a:latin typeface="MS PGothic"/>
              <a:ea typeface="MS PGothic"/>
              <a:cs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196335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E2981E-0A2E-DAFC-8B09-402D8C9A07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0104E4-9E55-530D-07E7-0AD9A30AF234}"/>
              </a:ext>
            </a:extLst>
          </p:cNvPr>
          <p:cNvSpPr txBox="1">
            <a:spLocks/>
          </p:cNvSpPr>
          <p:nvPr/>
        </p:nvSpPr>
        <p:spPr>
          <a:xfrm>
            <a:off x="59327" y="1585613"/>
            <a:ext cx="9762308" cy="4824757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tIns="90000" rIns="90000" bIns="90000"/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n-US" altLang="ja-JP" sz="1800" dirty="0"/>
          </a:p>
        </p:txBody>
      </p:sp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21C526B4-FBF6-1421-7B78-207F05C78634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21C526B4-FBF6-1421-7B78-207F05C786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5AB23975-38D1-2211-7A16-A1E5B8BC1E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0"/>
            <a:ext cx="9906000" cy="404664"/>
          </a:xfrm>
        </p:spPr>
        <p:txBody>
          <a:bodyPr/>
          <a:lstStyle/>
          <a:p>
            <a:r>
              <a:rPr lang="ja-JP" altLang="en-US" sz="2000"/>
              <a:t>Generating a heat map</a:t>
            </a:r>
            <a:endParaRPr lang="en-US" altLang="ja-JP" sz="2000" dirty="0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0D08F3B0-F07F-07B1-9E91-079097711D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327" y="1170039"/>
            <a:ext cx="9772650" cy="405586"/>
          </a:xfrm>
          <a:prstGeom prst="rect">
            <a:avLst/>
          </a:prstGeom>
          <a:solidFill>
            <a:schemeClr val="tx1"/>
          </a:solidFill>
          <a:ln w="12700" algn="ctr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marL="0" marR="0" lvl="0" indent="0" algn="ctr" defTabSz="7620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20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Generating a heat map</a:t>
            </a:r>
            <a:endParaRPr kumimoji="0" lang="en-US" sz="2000" b="1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テキスト ボックス 45">
            <a:extLst>
              <a:ext uri="{FF2B5EF4-FFF2-40B4-BE49-F238E27FC236}">
                <a16:creationId xmlns:a16="http://schemas.microsoft.com/office/drawing/2014/main" id="{4468475E-7A65-95D0-CE32-9C2F5BED2831}"/>
              </a:ext>
            </a:extLst>
          </p:cNvPr>
          <p:cNvSpPr txBox="1"/>
          <p:nvPr/>
        </p:nvSpPr>
        <p:spPr>
          <a:xfrm>
            <a:off x="2995" y="447630"/>
            <a:ext cx="9903006" cy="646331"/>
          </a:xfrm>
          <a:prstGeom prst="rect">
            <a:avLst/>
          </a:prstGeom>
          <a:ln w="12700">
            <a:noFill/>
          </a:ln>
        </p:spPr>
        <p:txBody>
          <a:bodyPr wrap="square" rtlCol="0">
            <a:spAutoFit/>
          </a:bodyPr>
          <a:lstStyle/>
          <a:p>
            <a:r>
              <a:rPr lang="ja-JP" altLang="en-US" b="1"/>
              <a:t>By overlaying the design 3D model with the as-built point cloud and generating a heat map, you can verify whether the existing conditions conform to the design drawings.</a:t>
            </a:r>
            <a:endParaRPr kumimoji="1" lang="en-US" altLang="ja-JP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図 3">
            <a:extLst>
              <a:ext uri="{FF2B5EF4-FFF2-40B4-BE49-F238E27FC236}">
                <a16:creationId xmlns:a16="http://schemas.microsoft.com/office/drawing/2014/main" id="{4E463F4F-64A3-2B83-57B4-032D0412313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61539" y="1612368"/>
            <a:ext cx="7357884" cy="4771246"/>
          </a:xfrm>
          <a:prstGeom prst="rect">
            <a:avLst/>
          </a:prstGeom>
        </p:spPr>
      </p:pic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F159E2BE-5592-1806-A9C1-0FEF8A5910EE}"/>
              </a:ext>
            </a:extLst>
          </p:cNvPr>
          <p:cNvSpPr/>
          <p:nvPr/>
        </p:nvSpPr>
        <p:spPr>
          <a:xfrm>
            <a:off x="1415141" y="3348765"/>
            <a:ext cx="1385209" cy="156435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200" dirty="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正方形/長方形 23">
            <a:extLst>
              <a:ext uri="{FF2B5EF4-FFF2-40B4-BE49-F238E27FC236}">
                <a16:creationId xmlns:a16="http://schemas.microsoft.com/office/drawing/2014/main" id="{6BF70517-1418-2A9F-52D0-496296356F8C}"/>
              </a:ext>
            </a:extLst>
          </p:cNvPr>
          <p:cNvSpPr/>
          <p:nvPr/>
        </p:nvSpPr>
        <p:spPr>
          <a:xfrm>
            <a:off x="7791655" y="4804682"/>
            <a:ext cx="827768" cy="164193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200" dirty="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76852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16DD5F-37C7-D1E0-4B77-1D835211C0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A6C421-C841-47C2-468F-2172D622F128}"/>
              </a:ext>
            </a:extLst>
          </p:cNvPr>
          <p:cNvSpPr txBox="1">
            <a:spLocks/>
          </p:cNvSpPr>
          <p:nvPr/>
        </p:nvSpPr>
        <p:spPr>
          <a:xfrm>
            <a:off x="59327" y="1585613"/>
            <a:ext cx="9762308" cy="4824757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tIns="90000" rIns="90000" bIns="90000"/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n-US" altLang="ja-JP" sz="1800" dirty="0"/>
          </a:p>
          <a:p>
            <a:pPr>
              <a:spcBef>
                <a:spcPts val="0"/>
              </a:spcBef>
            </a:pPr>
            <a:endParaRPr lang="en-US" altLang="ja-JP" sz="1800" dirty="0"/>
          </a:p>
        </p:txBody>
      </p:sp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3BBE8D7F-9CDF-34D1-CBB4-4D62B2D52B35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3BBE8D7F-9CDF-34D1-CBB4-4D62B2D52B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F9BD84E3-4B90-C4DC-DBB7-472A47C0C0E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0"/>
            <a:ext cx="9906000" cy="404664"/>
          </a:xfrm>
        </p:spPr>
        <p:txBody>
          <a:bodyPr/>
          <a:lstStyle/>
          <a:p>
            <a:r>
              <a:rPr lang="ja-JP" altLang="en-US" sz="2000"/>
              <a:t>Heat map generation video</a:t>
            </a:r>
            <a:endParaRPr lang="en-US" altLang="ja-JP" sz="2000" dirty="0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39BDFDBB-21B0-BDE8-1D64-7F739EAF7B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327" y="1170039"/>
            <a:ext cx="9772650" cy="405586"/>
          </a:xfrm>
          <a:prstGeom prst="rect">
            <a:avLst/>
          </a:prstGeom>
          <a:solidFill>
            <a:schemeClr val="tx1"/>
          </a:solidFill>
          <a:ln w="12700" algn="ctr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marL="0" marR="0" lvl="0" indent="0" algn="ctr" defTabSz="7620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20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Heat map generation process</a:t>
            </a:r>
            <a:endParaRPr kumimoji="0" lang="en-US" sz="2000" b="1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テキスト ボックス 45">
            <a:extLst>
              <a:ext uri="{FF2B5EF4-FFF2-40B4-BE49-F238E27FC236}">
                <a16:creationId xmlns:a16="http://schemas.microsoft.com/office/drawing/2014/main" id="{792838EF-1EB0-D260-3D85-F5386E056964}"/>
              </a:ext>
            </a:extLst>
          </p:cNvPr>
          <p:cNvSpPr txBox="1"/>
          <p:nvPr/>
        </p:nvSpPr>
        <p:spPr>
          <a:xfrm>
            <a:off x="2995" y="447630"/>
            <a:ext cx="9903006" cy="984885"/>
          </a:xfrm>
          <a:prstGeom prst="rect">
            <a:avLst/>
          </a:prstGeom>
          <a:ln w="12700">
            <a:noFill/>
          </a:ln>
        </p:spPr>
        <p:txBody>
          <a:bodyPr wrap="square" rtlCol="0">
            <a:spAutoFit/>
          </a:bodyPr>
          <a:lstStyle/>
          <a:p>
            <a:r>
              <a:rPr kumimoji="1" lang="ja-JP" altLang="en-US" sz="2000" b="1" dirty="0">
                <a:latin typeface="Arial" pitchFamily="34" charset="0"/>
                <a:cs typeface="Arial" pitchFamily="34" charset="0"/>
              </a:rPr>
              <a:t>The generated heatmap is registered as a 3D model and can be displayed in AR</a:t>
            </a:r>
            <a:r>
              <a:rPr kumimoji="1" lang="en-US" altLang="ja-JP" sz="2000" b="1" dirty="0">
                <a:latin typeface="Arial" pitchFamily="34" charset="0"/>
                <a:cs typeface="Arial" pitchFamily="34" charset="0"/>
              </a:rPr>
              <a:t>.</a:t>
            </a:r>
            <a:r>
              <a:rPr kumimoji="1" lang="ja-JP" altLang="en-US" sz="2000" b="1" dirty="0">
                <a:latin typeface="Arial" pitchFamily="34" charset="0"/>
                <a:cs typeface="Arial" pitchFamily="34" charset="0"/>
              </a:rPr>
              <a:t> </a:t>
            </a:r>
            <a:r>
              <a:rPr kumimoji="1" lang="ja-JP" altLang="en-US" sz="2000" b="1" dirty="0">
                <a:latin typeface="Arial" pitchFamily="34" charset="0"/>
                <a:cs typeface="Arial" pitchFamily="34" charset="0"/>
                <a:hlinkClick r:id="rId6"/>
              </a:rPr>
              <a:t>https://youtu.be/jVRN-KMgeNE</a:t>
            </a:r>
            <a:endParaRPr kumimoji="1" lang="en-US" altLang="ja-JP" sz="2000" b="1" dirty="0">
              <a:latin typeface="Arial" pitchFamily="34" charset="0"/>
              <a:cs typeface="Arial" pitchFamily="34" charset="0"/>
            </a:endParaRPr>
          </a:p>
          <a:p>
            <a:endParaRPr kumimoji="1" lang="en-US" altLang="ja-JP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図 5">
            <a:extLst>
              <a:ext uri="{FF2B5EF4-FFF2-40B4-BE49-F238E27FC236}">
                <a16:creationId xmlns:a16="http://schemas.microsoft.com/office/drawing/2014/main" id="{888FF803-5052-3BC8-2195-184A1A9ED3B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54281" y="1693316"/>
            <a:ext cx="7772400" cy="4609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32729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09"/>
  <p:tag name="MMPROD_UIDATA" val="&lt;database version=&quot;7.0&quot;&gt;&lt;object type=&quot;1&quot; unique_id=&quot;10001&quot;&gt;&lt;object type=&quot;8&quot; unique_id=&quot;10002&quot;&gt;&lt;/object&gt;&lt;object type=&quot;2&quot; unique_id=&quot;10003&quot;&gt;&lt;object type=&quot;3&quot; unique_id=&quot;10004&quot;&gt;&lt;property id=&quot;20148&quot; value=&quot;5&quot;/&gt;&lt;property id=&quot;20300&quot; value=&quot;Slide 1&quot;/&gt;&lt;property id=&quot;20307&quot; value=&quot;257&quot;/&gt;&lt;/object&gt;&lt;object type=&quot;3&quot; unique_id=&quot;10005&quot;&gt;&lt;property id=&quot;20148&quot; value=&quot;5&quot;/&gt;&lt;property id=&quot;20300&quot; value=&quot;Slide 3 - &amp;quot;Main contents slide (highlight chapter in use with fill and bold font and remove guide borders when completed)&amp;quot;&quot;/&gt;&lt;property id=&quot;20307&quot; value=&quot;256&quot;/&gt;&lt;/object&gt;&lt;object type=&quot;3&quot; unique_id=&quot;10006&quot;&gt;&lt;property id=&quot;20148&quot; value=&quot;5&quot;/&gt;&lt;property id=&quot;20300&quot; value=&quot;Slide 4 - &amp;quot;Sub-level contents slide if required (remove guide borders when completed)&amp;quot;&quot;/&gt;&lt;property id=&quot;20307&quot; value=&quot;258&quot;/&gt;&lt;/object&gt;&lt;object type=&quot;3&quot; unique_id=&quot;10007&quot;&gt;&lt;property id=&quot;20148&quot; value=&quot;5&quot;/&gt;&lt;property id=&quot;20300&quot; value=&quot;Slide 5 - &amp;quot;Example blank slide&amp;quot;&quot;/&gt;&lt;property id=&quot;20307&quot; value=&quot;260&quot;/&gt;&lt;/object&gt;&lt;object type=&quot;3&quot; unique_id=&quot;10008&quot;&gt;&lt;property id=&quot;20148&quot; value=&quot;5&quot;/&gt;&lt;property id=&quot;20300&quot; value=&quot;Slide 6 - &amp;quot;Example single monopoly card&amp;quot;&quot;/&gt;&lt;property id=&quot;20307&quot; value=&quot;259&quot;/&gt;&lt;/object&gt;&lt;object type=&quot;3&quot; unique_id=&quot;10009&quot;&gt;&lt;property id=&quot;20148&quot; value=&quot;5&quot;/&gt;&lt;property id=&quot;20300&quot; value=&quot;Slide 7 - &amp;quot;Example monopoly cards&amp;quot;&quot;/&gt;&lt;property id=&quot;20307&quot; value=&quot;261&quot;/&gt;&lt;/object&gt;&lt;object type=&quot;3&quot; unique_id=&quot;10010&quot;&gt;&lt;property id=&quot;20148&quot; value=&quot;5&quot;/&gt;&lt;property id=&quot;20300&quot; value=&quot;Slide 8 - &amp;quot;Example two column page&amp;quot;&quot;/&gt;&lt;property id=&quot;20307&quot; value=&quot;262&quot;/&gt;&lt;/object&gt;&lt;object type=&quot;3&quot; unique_id=&quot;10011&quot;&gt;&lt;property id=&quot;20148&quot; value=&quot;5&quot;/&gt;&lt;property id=&quot;20300&quot; value=&quot;Slide 9 - &amp;quot;Example table&amp;quot;&quot;/&gt;&lt;property id=&quot;20307&quot; value=&quot;263&quot;/&gt;&lt;/object&gt;&lt;object type=&quot;3&quot; unique_id=&quot;10012&quot;&gt;&lt;property id=&quot;20148&quot; value=&quot;5&quot;/&gt;&lt;property id=&quot;20300&quot; value=&quot;Slide 10 - &amp;quot;Notice&amp;quot;&quot;/&gt;&lt;property id=&quot;20307&quot; value=&quot;272&quot;/&gt;&lt;/object&gt;&lt;object type=&quot;3&quot; unique_id=&quot;10013&quot;&gt;&lt;property id=&quot;20148&quot; value=&quot;5&quot;/&gt;&lt;property id=&quot;20300&quot; value=&quot;Slide 11 - &amp;quot;Summary introduction&amp;quot;&quot;/&gt;&lt;property id=&quot;20307&quot; value=&quot;264&quot;/&gt;&lt;/object&gt;&lt;object type=&quot;3&quot; unique_id=&quot;10014&quot;&gt;&lt;property id=&quot;20148&quot; value=&quot;5&quot;/&gt;&lt;property id=&quot;20300&quot; value=&quot;Slide 12 - &amp;quot;Small copy of introduction graphic in top right hand corner &amp;quot;&quot;/&gt;&lt;property id=&quot;20307&quot; value=&quot;265&quot;/&gt;&lt;/object&gt;&lt;object type=&quot;3&quot; unique_id=&quot;10015&quot;&gt;&lt;property id=&quot;20148&quot; value=&quot;5&quot;/&gt;&lt;property id=&quot;20300&quot; value=&quot;Slide 13 - &amp;quot;Second section etc&amp;quot;&quot;/&gt;&lt;property id=&quot;20307&quot; value=&quot;266&quot;/&gt;&lt;/object&gt;&lt;object type=&quot;3&quot; unique_id=&quot;10016&quot;&gt;&lt;property id=&quot;20148&quot; value=&quot;5&quot;/&gt;&lt;property id=&quot;20300&quot; value=&quot;Slide 14 - &amp;quot;Brief explanation of client’s situation&amp;quot;&quot;/&gt;&lt;property id=&quot;20307&quot; value=&quot;267&quot;/&gt;&lt;/object&gt;&lt;object type=&quot;3&quot; unique_id=&quot;10017&quot;&gt;&lt;property id=&quot;20148&quot; value=&quot;5&quot;/&gt;&lt;property id=&quot;20300&quot; value=&quot;Slide 17 - &amp;quot;If you decide to use one biography per slide, you may wish expand on relevant experience and qualifications, furth&quot;/&gt;&lt;property id=&quot;20307&quot; value=&quot;268&quot;/&gt;&lt;/object&gt;&lt;object type=&quot;3&quot; unique_id=&quot;10018&quot;&gt;&lt;property id=&quot;20148&quot; value=&quot;5&quot;/&gt;&lt;property id=&quot;20300&quot; value=&quot;Slide 18&quot;/&gt;&lt;property id=&quot;20307&quot; value=&quot;269&quot;/&gt;&lt;/object&gt;&lt;object type=&quot;3&quot; unique_id=&quot;10019&quot;&gt;&lt;property id=&quot;20148&quot; value=&quot;5&quot;/&gt;&lt;property id=&quot;20300&quot; value=&quot;Slide 19&quot;/&gt;&lt;property id=&quot;20307&quot; value=&quot;270&quot;/&gt;&lt;/object&gt;&lt;object type=&quot;3&quot; unique_id=&quot;10020&quot;&gt;&lt;property id=&quot;20148&quot; value=&quot;5&quot;/&gt;&lt;property id=&quot;20300&quot; value=&quot;Slide 15 - &amp;quot;Qualifications will use the standard format detailed below, the number of quals per slide can be varied depending &quot;/&gt;&lt;property id=&quot;20307&quot; value=&quot;273&quot;/&gt;&lt;/object&gt;&lt;object type=&quot;3&quot; unique_id=&quot;10021&quot;&gt;&lt;property id=&quot;20148&quot; value=&quot;5&quot;/&gt;&lt;property id=&quot;20300&quot; value=&quot;Slide 16 - &amp;quot;The example below shows how the slide will look if two quals are combined on a slide, the text size has been reduc&quot;/&gt;&lt;property id=&quot;20307&quot; value=&quot;274&quot;/&gt;&lt;/object&gt;&lt;object type=&quot;3&quot; unique_id=&quot;10062&quot;&gt;&lt;property id=&quot;20148&quot; value=&quot;5&quot;/&gt;&lt;property id=&quot;20300&quot; value=&quot;Slide 2&quot;/&gt;&lt;property id=&quot;20307&quot; value=&quot;276&quot;/&gt;&lt;/object&gt;&lt;object type=&quot;3&quot; unique_id=&quot;10063&quot;&gt;&lt;property id=&quot;20148&quot; value=&quot;5&quot;/&gt;&lt;property id=&quot;20300&quot; value=&quot;Slide 20&quot;/&gt;&lt;property id=&quot;20307&quot; value=&quot;275&quot;/&gt;&lt;/object&gt;&lt;/object&gt;&lt;/object&gt;&lt;/database&gt;"/>
  <p:tag name="THINKCELLUNDODONOTDELETE" val="20"/>
  <p:tag name="SECTOMILLISECCONVERTED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PtKOPU6EeOWltNt1p5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Lefixea_Slidemaster_color">
      <a:dk1>
        <a:srgbClr val="033273"/>
      </a:dk1>
      <a:lt1>
        <a:srgbClr val="FFFFFF"/>
      </a:lt1>
      <a:dk2>
        <a:srgbClr val="033273"/>
      </a:dk2>
      <a:lt2>
        <a:srgbClr val="808080"/>
      </a:lt2>
      <a:accent1>
        <a:srgbClr val="033273"/>
      </a:accent1>
      <a:accent2>
        <a:srgbClr val="C0CCDC"/>
      </a:accent2>
      <a:accent3>
        <a:srgbClr val="BFBFBF"/>
      </a:accent3>
      <a:accent4>
        <a:srgbClr val="8199B9"/>
      </a:accent4>
      <a:accent5>
        <a:srgbClr val="FFE280"/>
      </a:accent5>
      <a:accent6>
        <a:srgbClr val="FFC500"/>
      </a:accent6>
      <a:hlink>
        <a:srgbClr val="8199B9"/>
      </a:hlink>
      <a:folHlink>
        <a:srgbClr val="416596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rgbClr val="969696"/>
          </a:solidFill>
        </a:ln>
      </a:spPr>
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12700">
          <a:noFill/>
        </a:ln>
      </a:spPr>
      <a:bodyPr wrap="square" rtlCol="0">
        <a:spAutoFit/>
      </a:bodyPr>
      <a:lstStyle>
        <a:defPPr>
          <a:defRPr sz="14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3E7898"/>
    </a:custClr>
    <a:custClr name="Custom Color 2">
      <a:srgbClr val="000000"/>
    </a:custClr>
    <a:custClr name="Custom Color 3">
      <a:srgbClr val="4D4D4D"/>
    </a:custClr>
    <a:custClr name="Custom Color 4">
      <a:srgbClr val="969696"/>
    </a:custClr>
    <a:custClr name="Custom Color 5">
      <a:srgbClr val="EAEAEA"/>
    </a:custClr>
    <a:custClr name="Custom Color 6">
      <a:srgbClr val="6EB66E"/>
    </a:custClr>
    <a:custClr name="Custom Color 7">
      <a:srgbClr val="CC0000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e755cc5-ae56-4e79-a283-74a644d3c476">
      <Terms xmlns="http://schemas.microsoft.com/office/infopath/2007/PartnerControls"/>
    </lcf76f155ced4ddcb4097134ff3c332f>
    <TaxCatchAll xmlns="3be659c1-1e65-4eae-85b0-0af5fc8e561f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302B644A1E68DC42A590C3945CED365A" ma:contentTypeVersion="19" ma:contentTypeDescription="新しいドキュメントを作成します。" ma:contentTypeScope="" ma:versionID="9335ea08eef914301fcd918ffb41c745">
  <xsd:schema xmlns:xsd="http://www.w3.org/2001/XMLSchema" xmlns:xs="http://www.w3.org/2001/XMLSchema" xmlns:p="http://schemas.microsoft.com/office/2006/metadata/properties" xmlns:ns2="2e755cc5-ae56-4e79-a283-74a644d3c476" xmlns:ns3="3be659c1-1e65-4eae-85b0-0af5fc8e561f" targetNamespace="http://schemas.microsoft.com/office/2006/metadata/properties" ma:root="true" ma:fieldsID="b27c1f888605b705081e3bb8972b949e" ns2:_="" ns3:_="">
    <xsd:import namespace="2e755cc5-ae56-4e79-a283-74a644d3c476"/>
    <xsd:import namespace="3be659c1-1e65-4eae-85b0-0af5fc8e561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  <xsd:element ref="ns3:SharedWithUsers" minOccurs="0"/>
                <xsd:element ref="ns3:SharedWithDetail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755cc5-ae56-4e79-a283-74a644d3c47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9" nillable="true" ma:taxonomy="true" ma:internalName="lcf76f155ced4ddcb4097134ff3c332f" ma:taxonomyFieldName="MediaServiceImageTags" ma:displayName="画像タグ" ma:readOnly="false" ma:fieldId="{5cf76f15-5ced-4ddc-b409-7134ff3c332f}" ma:taxonomyMulti="true" ma:sspId="1665e6cc-e37a-4638-91fc-33584722f5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be659c1-1e65-4eae-85b0-0af5fc8e561f" elementFormDefault="qualified">
    <xsd:import namespace="http://schemas.microsoft.com/office/2006/documentManagement/types"/>
    <xsd:import namespace="http://schemas.microsoft.com/office/infopath/2007/PartnerControls"/>
    <xsd:element name="TaxCatchAll" ma:index="20" nillable="true" ma:displayName="Taxonomy Catch All Column" ma:hidden="true" ma:list="{59de0a3f-33c1-48e3-a8ef-72e01b701e1a}" ma:internalName="TaxCatchAll" ma:showField="CatchAllData" ma:web="3be659c1-1e65-4eae-85b0-0af5fc8e561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4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5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96C0B64-CC77-4295-A054-9AC2C677586E}">
  <ds:schemaRefs>
    <ds:schemaRef ds:uri="http://schemas.microsoft.com/office/2006/documentManagement/types"/>
    <ds:schemaRef ds:uri="http://purl.org/dc/terms/"/>
    <ds:schemaRef ds:uri="http://www.w3.org/XML/1998/namespace"/>
    <ds:schemaRef ds:uri="http://purl.org/dc/elements/1.1/"/>
    <ds:schemaRef ds:uri="http://purl.org/dc/dcmitype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3be659c1-1e65-4eae-85b0-0af5fc8e561f"/>
    <ds:schemaRef ds:uri="2e755cc5-ae56-4e79-a283-74a644d3c476"/>
  </ds:schemaRefs>
</ds:datastoreItem>
</file>

<file path=customXml/itemProps2.xml><?xml version="1.0" encoding="utf-8"?>
<ds:datastoreItem xmlns:ds="http://schemas.openxmlformats.org/officeDocument/2006/customXml" ds:itemID="{567CCE53-F78D-4413-93A3-A63F00E88DF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031A540-C0F5-4FDA-8B59-2535245DB46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e755cc5-ae56-4e79-a283-74a644d3c476"/>
    <ds:schemaRef ds:uri="3be659c1-1e65-4eae-85b0-0af5fc8e561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6</TotalTime>
  <Words>87</Words>
  <Application>Microsoft Office PowerPoint</Application>
  <PresentationFormat>A4 Paper (210x297 mm)</PresentationFormat>
  <Paragraphs>10</Paragraphs>
  <Slides>3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4" baseType="lpstr">
      <vt:lpstr>Blank</vt:lpstr>
      <vt:lpstr>Heat map and as-built management</vt:lpstr>
      <vt:lpstr>PowerPoint Presentation</vt:lpstr>
      <vt:lpstr>PowerPoint Presentation</vt:lpstr>
    </vt:vector>
  </TitlesOfParts>
  <Company>Arthur D. Littl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Intern01</dc:creator>
  <cp:lastModifiedBy>Seino Rika</cp:lastModifiedBy>
  <cp:revision>39</cp:revision>
  <dcterms:created xsi:type="dcterms:W3CDTF">2014-10-07T10:58:16Z</dcterms:created>
  <dcterms:modified xsi:type="dcterms:W3CDTF">2026-04-09T00:47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rder">
    <vt:r8>2072800</vt:r8>
  </property>
  <property fmtid="{D5CDD505-2E9C-101B-9397-08002B2CF9AE}" pid="3" name="xd_Signature">
    <vt:bool>false</vt:bool>
  </property>
  <property fmtid="{D5CDD505-2E9C-101B-9397-08002B2CF9AE}" pid="4" name="xd_ProgID">
    <vt:lpwstr/>
  </property>
  <property fmtid="{D5CDD505-2E9C-101B-9397-08002B2CF9AE}" pid="5" name="ComplianceAssetId">
    <vt:lpwstr/>
  </property>
  <property fmtid="{D5CDD505-2E9C-101B-9397-08002B2CF9AE}" pid="6" name="TemplateUrl">
    <vt:lpwstr/>
  </property>
  <property fmtid="{D5CDD505-2E9C-101B-9397-08002B2CF9AE}" pid="7" name="MediaServiceImageTags">
    <vt:lpwstr/>
  </property>
  <property fmtid="{D5CDD505-2E9C-101B-9397-08002B2CF9AE}" pid="8" name="ContentTypeId">
    <vt:lpwstr>0x010100302B644A1E68DC42A590C3945CED365A</vt:lpwstr>
  </property>
</Properties>
</file>